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706" r:id="rId7"/>
    <p:sldId id="657" r:id="rId8"/>
    <p:sldId id="704" r:id="rId9"/>
    <p:sldId id="705" r:id="rId10"/>
    <p:sldId id="69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706"/>
            <p14:sldId id="657"/>
            <p14:sldId id="704"/>
            <p14:sldId id="705"/>
            <p14:sldId id="6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33844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4196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0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C8308EFB-9DD4-4A76-AE7B-514DAB239435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 descr="A logo with text on it&#10;&#10;Description automatically generated">
            <a:extLst>
              <a:ext uri="{FF2B5EF4-FFF2-40B4-BE49-F238E27FC236}">
                <a16:creationId xmlns:a16="http://schemas.microsoft.com/office/drawing/2014/main" id="{6DAE0E42-06F0-49FC-A998-4E2DBEF8F0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0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  <p:sldLayoutId id="214748367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D65FEA3-2E43-4FDA-9957-E8644DC435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2770286"/>
            <a:ext cx="5346283" cy="1317427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Basic Arithmetic Operations in Python</a:t>
            </a:r>
          </a:p>
        </p:txBody>
      </p:sp>
    </p:spTree>
    <p:extLst>
      <p:ext uri="{BB962C8B-B14F-4D97-AF65-F5344CB8AC3E}">
        <p14:creationId xmlns:p14="http://schemas.microsoft.com/office/powerpoint/2010/main" val="1805405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BD246C-3AB2-4BFE-B4B7-6A6A5D63B0B9}"/>
              </a:ext>
            </a:extLst>
          </p:cNvPr>
          <p:cNvSpPr txBox="1"/>
          <p:nvPr/>
        </p:nvSpPr>
        <p:spPr>
          <a:xfrm>
            <a:off x="299427" y="1495352"/>
            <a:ext cx="11174818" cy="4403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ython can be used as a calculator to perform basic arithmetic operations.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sider the following arithmetic operations: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ddi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ubtrac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ultiplicat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vision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ponentiation (or Powers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odulo</a:t>
            </a:r>
          </a:p>
        </p:txBody>
      </p:sp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DEDE9037-5EC9-418F-AF23-6B32D10A85D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486695" y="1048892"/>
            <a:ext cx="8509821" cy="5174927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as a Calculat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EC192B-B410-4DEF-804B-05E9FB3B0F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8" t="788" b="1871"/>
          <a:stretch/>
        </p:blipFill>
        <p:spPr>
          <a:xfrm>
            <a:off x="176981" y="1460091"/>
            <a:ext cx="11364205" cy="34806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7DF5CA6-BC4F-4DD2-937A-FACD0049C1D8}"/>
              </a:ext>
            </a:extLst>
          </p:cNvPr>
          <p:cNvSpPr txBox="1"/>
          <p:nvPr/>
        </p:nvSpPr>
        <p:spPr>
          <a:xfrm>
            <a:off x="176981" y="5899043"/>
            <a:ext cx="76138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*, 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**</a:t>
            </a:r>
            <a:r>
              <a:rPr lang="en-US" sz="2400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i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re called arithmetic operators.</a:t>
            </a:r>
          </a:p>
        </p:txBody>
      </p:sp>
    </p:spTree>
    <p:extLst>
      <p:ext uri="{BB962C8B-B14F-4D97-AF65-F5344CB8AC3E}">
        <p14:creationId xmlns:p14="http://schemas.microsoft.com/office/powerpoint/2010/main" val="386946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2</TotalTime>
  <Words>71</Words>
  <Application>Microsoft Office PowerPoint</Application>
  <PresentationFormat>Widescreen</PresentationFormat>
  <Paragraphs>16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Gotham Light</vt:lpstr>
      <vt:lpstr>Lato Light</vt:lpstr>
      <vt:lpstr>Symbol</vt:lpstr>
      <vt:lpstr>1_Office Theme</vt:lpstr>
      <vt:lpstr>2_Office Theme</vt:lpstr>
      <vt:lpstr>think-cell Slide</vt:lpstr>
      <vt:lpstr>Introduction to Programming in Python</vt:lpstr>
      <vt:lpstr>Basic Arithmetic Operations in Pyth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3</cp:revision>
  <dcterms:created xsi:type="dcterms:W3CDTF">2020-03-16T19:15:12Z</dcterms:created>
  <dcterms:modified xsi:type="dcterms:W3CDTF">2024-05-03T11:1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